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0"/>
  </p:notesMasterIdLst>
  <p:sldIdLst>
    <p:sldId id="2877" r:id="rId3"/>
    <p:sldId id="257" r:id="rId4"/>
    <p:sldId id="2878" r:id="rId5"/>
    <p:sldId id="2880" r:id="rId6"/>
    <p:sldId id="2881" r:id="rId7"/>
    <p:sldId id="2879" r:id="rId8"/>
    <p:sldId id="2882" r:id="rId9"/>
  </p:sldIdLst>
  <p:sldSz cx="12192000" cy="6858000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5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E9491B-DBAD-41FE-A40D-19D6834B6BA8}" type="datetimeFigureOut">
              <a:rPr lang="ru-RU" smtClean="0"/>
              <a:t>23.0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0E537A-871A-4299-8A72-BE0D63D5957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683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7038" y="1244600"/>
            <a:ext cx="5954712" cy="33512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5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FDC95A-E73C-4092-8ABF-AE007264C1A2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5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7197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0D15EE-68BB-4283-8AA2-B2073FE324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690EA80F-6350-47EF-A35E-00B10AF7A5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20CF109-41EB-4754-ABB0-1BA661062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910794-A398-4F12-B55F-5E28A1D337DB}" type="datetime1">
              <a:rPr lang="ru-RU" smtClean="0"/>
              <a:t>23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1364606-3C47-4797-B323-59EEA82AF8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03D2A34-67A1-4659-8DCA-78A758B04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2328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F1C74D-C9D1-4877-B48E-1A6446E39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BDF03D0-DC9F-4E12-8CC6-3A1DD00D23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2A7BCD7-8AD9-4D59-87FE-5D820289E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50703-0D5E-4588-8827-7F69EC16FB92}" type="datetime1">
              <a:rPr lang="ru-RU" smtClean="0"/>
              <a:t>23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7F30FF9-F6AF-4418-AC8A-E0C943BDC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472D443-1F8D-4BEC-A4E8-105B0BFDA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6256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F4586053-2A15-445E-8BF1-FF7A41B1AC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E4963FC-53CB-4B05-BC01-874DFBE203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A8B31E-8670-427E-B293-15AAAD35A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057E5-496E-41A3-9877-7A8F80A2199F}" type="datetime1">
              <a:rPr lang="ru-RU" smtClean="0"/>
              <a:t>23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2C3E7D9-63E7-429F-A5A8-46FC15FDA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52F309D-F796-4C57-913E-2807E53AD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76950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30254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47201" y="138565"/>
            <a:ext cx="11133376" cy="625499"/>
          </a:xfrm>
          <a:prstGeom prst="rect">
            <a:avLst/>
          </a:prstGeom>
        </p:spPr>
        <p:txBody>
          <a:bodyPr lIns="91417" tIns="45709" rIns="91417" bIns="45709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>
          <a:xfrm>
            <a:off x="11088557" y="6597353"/>
            <a:ext cx="970317" cy="260648"/>
          </a:xfrm>
          <a:prstGeom prst="rect">
            <a:avLst/>
          </a:prstGeom>
        </p:spPr>
        <p:txBody>
          <a:bodyPr lIns="91417" tIns="45709" rIns="91417" bIns="45709"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34688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B44160-968B-4AAA-87A6-E9E0AC2AA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7B33A0D-69B8-47B1-BA46-1B641A689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8B21065-1069-4D45-A3FA-60B972EFA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E3FA7-ADFC-49FC-9C7A-545EED7F98A8}" type="datetime1">
              <a:rPr lang="ru-RU" smtClean="0"/>
              <a:t>23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97CA8F5-D184-48DE-A579-4757503C5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2417406-C107-4109-B502-BBEF9C7E0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4640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938E55-A416-49FC-AC6F-990AA0D6BF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5DD1EEB-9F48-4C6E-ACAA-2250566B1E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32AC664-AAD6-4313-A031-44515157A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C92C8-641D-4208-87C9-55957235B717}" type="datetime1">
              <a:rPr lang="ru-RU" smtClean="0"/>
              <a:t>23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666FBC6-F841-498D-8510-F0BEFB9F9C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760DC7-7E7A-42DE-BF0C-9595174CC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60506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1F2C3AF-1F87-43EE-9D94-FEC52572E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40FA77B-DEFF-4FA6-BE25-897C2892E7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4708549-7893-499D-820A-489158BA09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E0D6EDE-B393-4D70-8FE8-09544601F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90FDC4-7A5C-414D-804B-3E440F4B11EE}" type="datetime1">
              <a:rPr lang="ru-RU" smtClean="0"/>
              <a:t>23.0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31CE795-7A9C-467C-BE74-34A6EDCD2E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AC11F48-2A54-4901-93B8-48068CFD0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0750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AC34D3-70B8-4481-AE21-14797C64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B092893-1B55-4F58-8C9B-57E4493DBD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F69B715-37AB-4FA1-8FCD-1FDFEB0A32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D0D0BF9-57AF-48BF-9395-038730B830B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BEFF8F9-5003-4188-A5C2-53FBAC524E9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072D8BB6-B544-4EFF-8E31-7ADF1CA48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31D97-6BE4-47CA-8452-9F48F07D51EF}" type="datetime1">
              <a:rPr lang="ru-RU" smtClean="0"/>
              <a:t>23.01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EC1DD60-E9B2-4380-B910-D97534B3CA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C7FA54C-F975-438D-B7BA-9E845708A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6501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1A6A47-D5BB-4F35-AE9A-0907A9292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30AB98D-B301-46A7-A67A-26BE57447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A8417-9D2B-4421-9150-1BBE5490AE21}" type="datetime1">
              <a:rPr lang="ru-RU" smtClean="0"/>
              <a:t>23.01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A8A67F86-CBDF-4CE2-8528-8C27F452F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77F1211-C555-4730-926B-C9EB5D3906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2715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5DC84AD-5C8F-4D88-9D11-00EDB71190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FBA17-9C80-4327-A8A3-9C541F04F46C}" type="datetime1">
              <a:rPr lang="ru-RU" smtClean="0"/>
              <a:t>23.01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5E97088-8626-41D6-8D5F-E04391110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DB50628-0FD8-472F-96B7-2C7EF1391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3415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DCCB5B-2D8B-4260-8D9B-A8C54B565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B693621-18BB-4F21-B97C-F2E042F926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C5F30E3-BC9E-45A0-BC60-0B12821736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0F2A6F0-C7C0-41E0-90E1-BA0914887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6E7E3-0951-4D5C-938C-756F3EBB854C}" type="datetime1">
              <a:rPr lang="ru-RU" smtClean="0"/>
              <a:t>23.0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1F8B527-9044-45B8-B04F-08DB0FF1EA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91FD40B-9FCA-438A-93C7-409B58F24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69639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0F78F3-9535-4DBF-9CCB-DD438622A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2A62078-96BD-4C03-AA0F-88FA5BC8A8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76A67E3-3C77-46C9-BB56-AD05106970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86A21D7-F23E-4D72-8DFB-489896C59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EA343-00D7-4886-96BB-F0BF8DF48C80}" type="datetime1">
              <a:rPr lang="ru-RU" smtClean="0"/>
              <a:t>23.01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7410EA0-9E9B-427D-9ED4-AF14FC992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1C07BC7-0F8E-4DEE-8AD5-8EAFEC6BC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6373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8907FB-F7B5-43F9-AAF4-ED8F7D47C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6C044A5-2BDD-482A-8DE2-05FA1D2D8B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E5E8FE0-3626-4465-AB71-3D931A2C93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87294A-FE4A-4EA6-B562-1AA4EFA165A5}" type="datetime1">
              <a:rPr lang="ru-RU" smtClean="0"/>
              <a:t>23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42752AE-983B-4D8F-A2FE-27B5B7E796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EB60F3D-7E92-4234-A48D-98AFC0F00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63265C-0F7D-4F8E-B186-52CC6E57FB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6533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invGray">
          <a:xfrm>
            <a:off x="12113691" y="-1585"/>
            <a:ext cx="76203" cy="62071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7" tIns="45605" rIns="91207" bIns="45605" anchor="ctr"/>
          <a:lstStyle/>
          <a:p>
            <a:pPr algn="ctr" defTabSz="91206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71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invGray">
          <a:xfrm>
            <a:off x="12058659" y="-1585"/>
            <a:ext cx="38100" cy="62071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7" tIns="45605" rIns="91207" bIns="45605" anchor="ctr"/>
          <a:lstStyle/>
          <a:p>
            <a:pPr algn="ctr" defTabSz="91206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71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12033256" y="-1585"/>
            <a:ext cx="12700" cy="620714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7" tIns="45605" rIns="91207" bIns="45605" anchor="ctr"/>
          <a:lstStyle/>
          <a:p>
            <a:pPr algn="ctr" defTabSz="91206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71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11969758" y="-1585"/>
            <a:ext cx="33866" cy="620714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7" tIns="45605" rIns="91207" bIns="45605" anchor="ctr"/>
          <a:lstStyle/>
          <a:p>
            <a:pPr algn="ctr" defTabSz="91206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71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invGray">
          <a:xfrm>
            <a:off x="11887317" y="5"/>
            <a:ext cx="74085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7" tIns="45605" rIns="91207" bIns="45605" anchor="ctr"/>
          <a:lstStyle/>
          <a:p>
            <a:pPr algn="ctr" defTabSz="91206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71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11834472" y="5"/>
            <a:ext cx="846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1207" tIns="45605" rIns="91207" bIns="45605" anchor="ctr"/>
          <a:lstStyle/>
          <a:p>
            <a:pPr algn="ctr" defTabSz="91206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71" dirty="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21826" y="3"/>
            <a:ext cx="618068" cy="379414"/>
          </a:xfrm>
          <a:prstGeom prst="rect">
            <a:avLst/>
          </a:prstGeom>
        </p:spPr>
        <p:txBody>
          <a:bodyPr wrap="none" lIns="91207" tIns="45605" rIns="91207" bIns="45605">
            <a:normAutofit/>
          </a:bodyPr>
          <a:lstStyle/>
          <a:p>
            <a:pPr defTabSz="91206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71" dirty="0">
              <a:solidFill>
                <a:srgbClr val="00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55" y="1386735"/>
            <a:ext cx="10118530" cy="426304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4988" y="171128"/>
            <a:ext cx="1001574" cy="1193177"/>
          </a:xfrm>
          <a:prstGeom prst="rect">
            <a:avLst/>
          </a:prstGeom>
        </p:spPr>
      </p:pic>
      <p:sp>
        <p:nvSpPr>
          <p:cNvPr id="13" name="Прямоугольник 12"/>
          <p:cNvSpPr/>
          <p:nvPr userDrawn="1"/>
        </p:nvSpPr>
        <p:spPr>
          <a:xfrm rot="5400000">
            <a:off x="3447143" y="-710158"/>
            <a:ext cx="3120571" cy="8335347"/>
          </a:xfrm>
          <a:prstGeom prst="rect">
            <a:avLst/>
          </a:prstGeom>
          <a:gradFill>
            <a:gsLst>
              <a:gs pos="15000">
                <a:srgbClr val="002774">
                  <a:alpha val="69000"/>
                </a:srgbClr>
              </a:gs>
              <a:gs pos="88000">
                <a:schemeClr val="accent1">
                  <a:alpha val="5000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/>
          </a:p>
        </p:txBody>
      </p:sp>
    </p:spTree>
    <p:extLst>
      <p:ext uri="{BB962C8B-B14F-4D97-AF65-F5344CB8AC3E}">
        <p14:creationId xmlns:p14="http://schemas.microsoft.com/office/powerpoint/2010/main" val="326379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5pPr>
      <a:lvl6pPr marL="456030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6pPr>
      <a:lvl7pPr marL="912043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7pPr>
      <a:lvl8pPr marL="1368027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8pPr>
      <a:lvl9pPr marL="1824026" algn="ctr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2"/>
          </a:solidFill>
          <a:latin typeface="Arial" charset="0"/>
        </a:defRPr>
      </a:lvl9pPr>
    </p:titleStyle>
    <p:bodyStyle>
      <a:lvl1pPr marL="364189" indent="-254895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714">
          <a:solidFill>
            <a:schemeClr val="tx1"/>
          </a:solidFill>
          <a:latin typeface="+mn-lt"/>
          <a:ea typeface="+mn-ea"/>
          <a:cs typeface="+mn-cs"/>
        </a:defRPr>
      </a:lvl1pPr>
      <a:lvl2pPr marL="655515" indent="-245438" algn="l" rtl="0" eaLnBrk="1" fontAlgn="base" hangingPunct="1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500">
          <a:solidFill>
            <a:schemeClr val="accent2"/>
          </a:solidFill>
          <a:latin typeface="+mn-lt"/>
        </a:defRPr>
      </a:lvl2pPr>
      <a:lvl3pPr marL="919933" indent="-218495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29">
          <a:solidFill>
            <a:schemeClr val="accent1"/>
          </a:solidFill>
          <a:latin typeface="+mn-lt"/>
        </a:defRPr>
      </a:lvl3pPr>
      <a:lvl4pPr marL="1176474" indent="-199486" algn="l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86">
          <a:solidFill>
            <a:schemeClr val="accent1"/>
          </a:solidFill>
          <a:latin typeface="+mn-lt"/>
        </a:defRPr>
      </a:lvl4pPr>
      <a:lvl5pPr marL="1385450" indent="-182094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5pPr>
      <a:lvl6pPr marL="1841450" indent="-182094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6pPr>
      <a:lvl7pPr marL="2297448" indent="-182094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7pPr>
      <a:lvl8pPr marL="2753445" indent="-182094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8pPr>
      <a:lvl9pPr marL="3209472" indent="-182094" algn="l" rtl="0" eaLnBrk="1" fontAlgn="base" hangingPunct="1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>
          <a:solidFill>
            <a:srgbClr val="A04DA3"/>
          </a:solidFill>
          <a:latin typeface="+mn-lt"/>
        </a:defRPr>
      </a:lvl9pPr>
    </p:bodyStyle>
    <p:otherStyle>
      <a:defPPr>
        <a:defRPr lang="ru-RU"/>
      </a:defPPr>
      <a:lvl1pPr marL="0" algn="l" defTabSz="912043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1pPr>
      <a:lvl2pPr marL="456030" algn="l" defTabSz="912043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2pPr>
      <a:lvl3pPr marL="912043" algn="l" defTabSz="912043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3pPr>
      <a:lvl4pPr marL="1368027" algn="l" defTabSz="912043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4pPr>
      <a:lvl5pPr marL="1824026" algn="l" defTabSz="912043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5pPr>
      <a:lvl6pPr marL="2280036" algn="l" defTabSz="912043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6pPr>
      <a:lvl7pPr marL="2736054" algn="l" defTabSz="912043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7pPr>
      <a:lvl8pPr marL="3192027" algn="l" defTabSz="912043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8pPr>
      <a:lvl9pPr marL="3648050" algn="l" defTabSz="912043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5.svg"/><Relationship Id="rId7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C535AC-829C-423C-AAD6-A65EA3FAA4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12" y="1158"/>
          <a:ext cx="1135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AC535AC-829C-423C-AAD6-A65EA3FAA43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212" y="1158"/>
                        <a:ext cx="1135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226AE4-5AB7-4A6E-BD88-B2F1E2C0A8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179" y="2"/>
            <a:ext cx="113394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25727">
              <a:defRPr/>
            </a:pPr>
            <a:endParaRPr lang="ru-RU" sz="2286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24AAD0-360C-4519-AA67-886C13422A9C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933043" y="2417418"/>
            <a:ext cx="9672734" cy="94275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>
              <a:lnSpc>
                <a:spcPct val="125000"/>
              </a:lnSpc>
            </a:pPr>
            <a:r>
              <a:rPr lang="ru-RU" sz="2571" dirty="0">
                <a:solidFill>
                  <a:schemeClr val="bg1"/>
                </a:solidFill>
                <a:cs typeface="Arial" pitchFamily="34" charset="0"/>
              </a:rPr>
              <a:t>«Об итогах работы по внедрению принципов бережливого управления в Министерстве финансов Забайкальского края»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F0171EC7-46AD-4EA4-91B2-B6C2348B3F8C}"/>
              </a:ext>
            </a:extLst>
          </p:cNvPr>
          <p:cNvSpPr txBox="1">
            <a:spLocks/>
          </p:cNvSpPr>
          <p:nvPr/>
        </p:nvSpPr>
        <p:spPr>
          <a:xfrm>
            <a:off x="933043" y="4360580"/>
            <a:ext cx="6759513" cy="2374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52999">
              <a:spcBef>
                <a:spcPts val="714"/>
              </a:spcBef>
              <a:buNone/>
              <a:defRPr/>
            </a:pPr>
            <a:r>
              <a:rPr lang="ru-RU" sz="1714" dirty="0">
                <a:solidFill>
                  <a:prstClr val="white"/>
                </a:solidFill>
                <a:latin typeface="+mj-lt"/>
                <a:cs typeface="Arial" pitchFamily="34" charset="0"/>
              </a:rPr>
              <a:t>Голышева А.А., заместитель министра финансов 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val="2151088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3657702-10D4-4FB1-8E2B-35A4481F2057}"/>
              </a:ext>
            </a:extLst>
          </p:cNvPr>
          <p:cNvSpPr/>
          <p:nvPr/>
        </p:nvSpPr>
        <p:spPr>
          <a:xfrm>
            <a:off x="0" y="-1"/>
            <a:ext cx="12192000" cy="9899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>
                <a:solidFill>
                  <a:srgbClr val="002060"/>
                </a:solidFill>
                <a:latin typeface="+mj-lt"/>
              </a:rPr>
              <a:t>	</a:t>
            </a:r>
            <a:r>
              <a:rPr lang="ru-RU" sz="4000" b="1" dirty="0">
                <a:solidFill>
                  <a:srgbClr val="002060"/>
                </a:solidFill>
                <a:latin typeface="+mj-lt"/>
              </a:rPr>
              <a:t>БЕРЕЖЛИВОЕ УПРАВЛЕНИЕ</a:t>
            </a:r>
          </a:p>
          <a:p>
            <a:r>
              <a:rPr lang="ru-RU" sz="2400" b="1" dirty="0">
                <a:solidFill>
                  <a:srgbClr val="002060"/>
                </a:solidFill>
                <a:latin typeface="+mj-lt"/>
              </a:rPr>
              <a:t>	В МИНФИНЕ ЗАБАЙКАЛЬСКОГО КРАЯ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3F4C1D6-9330-404D-B545-1D82F56E7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522" y="107177"/>
            <a:ext cx="775544" cy="775544"/>
          </a:xfrm>
          <a:prstGeom prst="rect">
            <a:avLst/>
          </a:prstGeom>
        </p:spPr>
      </p:pic>
      <p:sp>
        <p:nvSpPr>
          <p:cNvPr id="31" name="Номер слайда 30">
            <a:extLst>
              <a:ext uri="{FF2B5EF4-FFF2-40B4-BE49-F238E27FC236}">
                <a16:creationId xmlns:a16="http://schemas.microsoft.com/office/drawing/2014/main" id="{23D5462B-6CDA-4623-BE52-50B1ED716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2</a:t>
            </a:fld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238BBD0-A6BF-425F-81DE-BF535BA89B0D}"/>
              </a:ext>
            </a:extLst>
          </p:cNvPr>
          <p:cNvSpPr/>
          <p:nvPr/>
        </p:nvSpPr>
        <p:spPr>
          <a:xfrm>
            <a:off x="106167" y="1494053"/>
            <a:ext cx="12085833" cy="2806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ЛИЧНАЯ ВОВЛЕЧЕННОСТЬ В ПРОЦЕСС МИНИСТРА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ОПРЕДЕЛЕН ЗАМЕСТИТЕЛЬ – КУРАТОР НАПРАВЛЕНИЯ</a:t>
            </a:r>
            <a:endParaRPr lang="en-US" sz="2000" b="1" dirty="0">
              <a:solidFill>
                <a:srgbClr val="002060"/>
              </a:solidFill>
              <a:latin typeface="+mj-lt"/>
            </a:endParaRP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ОБУЧЕНО АНАЛИЗУ ПРОЦЕССОВ 52 ЧЕЛОВЕКА – ЧЛЕНЫ 15 ПРОЕКТНЫХ КОМАНД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РЕАЛИЗОВАНО 15 ПРОЕКТОВ ПРИ ПЛАНЕ 14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ИНИЦИИРОВАНО И ВНЕДРЕНО 10 ППУ – 100% 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ОБМЕН ОПЫТОМ С РЕГИОНАМИ И КОНКУРС УПРАВЛЕНЧЕСКИХ ИННОВАЦИЙ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3B0E665-1989-4795-9EE2-15B9345723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67" y="4448703"/>
            <a:ext cx="4095706" cy="230383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0A141263-3C81-4995-B64D-2C3C80F2D4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6294" y="4448703"/>
            <a:ext cx="4095706" cy="230383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2299111-D8BC-4DD7-88D5-C1E7C19E2BC5}"/>
              </a:ext>
            </a:extLst>
          </p:cNvPr>
          <p:cNvSpPr txBox="1"/>
          <p:nvPr/>
        </p:nvSpPr>
        <p:spPr>
          <a:xfrm>
            <a:off x="88522" y="931087"/>
            <a:ext cx="11719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>
                <a:solidFill>
                  <a:srgbClr val="002060"/>
                </a:solidFill>
                <a:latin typeface="+mj-lt"/>
              </a:rPr>
              <a:t>РЕАЛИЗОВАНО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8F26625-1469-4718-8AB7-B9458C1120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5706" y="4448703"/>
            <a:ext cx="4095705" cy="230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770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3657702-10D4-4FB1-8E2B-35A4481F2057}"/>
              </a:ext>
            </a:extLst>
          </p:cNvPr>
          <p:cNvSpPr/>
          <p:nvPr/>
        </p:nvSpPr>
        <p:spPr>
          <a:xfrm>
            <a:off x="0" y="-1"/>
            <a:ext cx="12192000" cy="9899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>
                <a:solidFill>
                  <a:srgbClr val="002060"/>
                </a:solidFill>
                <a:latin typeface="+mj-lt"/>
              </a:rPr>
              <a:t>	</a:t>
            </a:r>
            <a:r>
              <a:rPr lang="ru-RU" sz="4000" b="1" dirty="0">
                <a:solidFill>
                  <a:srgbClr val="002060"/>
                </a:solidFill>
                <a:latin typeface="+mj-lt"/>
              </a:rPr>
              <a:t>БЕРЕЖЛИВОЕ УПРАВЛЕНИЕ</a:t>
            </a:r>
          </a:p>
          <a:p>
            <a:r>
              <a:rPr lang="ru-RU" sz="2400" b="1" dirty="0">
                <a:solidFill>
                  <a:srgbClr val="002060"/>
                </a:solidFill>
                <a:latin typeface="+mj-lt"/>
              </a:rPr>
              <a:t>	В МИНФИНЕ ЗАБАЙКАЛЬСКОГО КРАЯ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3F4C1D6-9330-404D-B545-1D82F56E7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522" y="107177"/>
            <a:ext cx="775544" cy="775544"/>
          </a:xfrm>
          <a:prstGeom prst="rect">
            <a:avLst/>
          </a:prstGeom>
        </p:spPr>
      </p:pic>
      <p:sp>
        <p:nvSpPr>
          <p:cNvPr id="31" name="Номер слайда 30">
            <a:extLst>
              <a:ext uri="{FF2B5EF4-FFF2-40B4-BE49-F238E27FC236}">
                <a16:creationId xmlns:a16="http://schemas.microsoft.com/office/drawing/2014/main" id="{23D5462B-6CDA-4623-BE52-50B1ED716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3</a:t>
            </a:fld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238BBD0-A6BF-425F-81DE-BF535BA89B0D}"/>
              </a:ext>
            </a:extLst>
          </p:cNvPr>
          <p:cNvSpPr/>
          <p:nvPr/>
        </p:nvSpPr>
        <p:spPr>
          <a:xfrm>
            <a:off x="88522" y="1182266"/>
            <a:ext cx="12085833" cy="1229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ОБУЧЕНЫ ТРИ ВНУТРЕННИХ ТРЕНЕРА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БРЕНДИРОВАНИЕ «БЕРЕЖЛИВОГО УПРАВЛЕНИЯ»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232B31-0538-4862-ACF0-C25DC5A28493}"/>
              </a:ext>
            </a:extLst>
          </p:cNvPr>
          <p:cNvSpPr txBox="1"/>
          <p:nvPr/>
        </p:nvSpPr>
        <p:spPr>
          <a:xfrm>
            <a:off x="207410" y="2825151"/>
            <a:ext cx="11848056" cy="3231654"/>
          </a:xfrm>
          <a:prstGeom prst="rect">
            <a:avLst/>
          </a:prstGeom>
          <a:noFill/>
          <a:ln w="3810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rgbClr val="002060"/>
                </a:solidFill>
                <a:latin typeface="+mj-lt"/>
              </a:rPr>
              <a:t>НАША МИССИЯ</a:t>
            </a:r>
          </a:p>
          <a:p>
            <a:pPr algn="ctr"/>
            <a:r>
              <a:rPr lang="ru-RU" sz="2800" b="1" dirty="0">
                <a:solidFill>
                  <a:srgbClr val="002060"/>
                </a:solidFill>
                <a:latin typeface="+mj-lt"/>
              </a:rPr>
              <a:t>ЛУЧШИЙ РЕЗУЛЬТАТ – МЕНЬШИМИ РЕСУРСАМИ</a:t>
            </a:r>
          </a:p>
          <a:p>
            <a:endParaRPr lang="ru-RU" sz="4000" b="1" dirty="0">
              <a:solidFill>
                <a:srgbClr val="002060"/>
              </a:solidFill>
              <a:latin typeface="+mj-lt"/>
            </a:endParaRPr>
          </a:p>
          <a:p>
            <a:r>
              <a:rPr lang="ru-RU" sz="4000" b="1" dirty="0">
                <a:solidFill>
                  <a:srgbClr val="002060"/>
                </a:solidFill>
                <a:latin typeface="+mj-lt"/>
              </a:rPr>
              <a:t>НАША ЦЕЛЬ</a:t>
            </a:r>
          </a:p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/>
              </a:rPr>
              <a:t>ЭФФЕКТ ОТ КАЖДОГО БЮДЖЕТНОГО РУБЛЯ</a:t>
            </a:r>
          </a:p>
          <a:p>
            <a:pPr algn="ctr"/>
            <a:endParaRPr lang="ru-RU" sz="2800" b="1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477009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3657702-10D4-4FB1-8E2B-35A4481F2057}"/>
              </a:ext>
            </a:extLst>
          </p:cNvPr>
          <p:cNvSpPr/>
          <p:nvPr/>
        </p:nvSpPr>
        <p:spPr>
          <a:xfrm>
            <a:off x="0" y="-1"/>
            <a:ext cx="12192000" cy="9899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>
                <a:solidFill>
                  <a:srgbClr val="002060"/>
                </a:solidFill>
                <a:latin typeface="+mj-lt"/>
              </a:rPr>
              <a:t>	</a:t>
            </a:r>
            <a:r>
              <a:rPr lang="ru-RU" sz="4000" b="1" dirty="0">
                <a:solidFill>
                  <a:srgbClr val="002060"/>
                </a:solidFill>
                <a:latin typeface="+mj-lt"/>
              </a:rPr>
              <a:t>БЕРЕЖЛИВОЕ УПРАВЛЕНИЕ</a:t>
            </a:r>
          </a:p>
          <a:p>
            <a:r>
              <a:rPr lang="ru-RU" sz="2400" b="1" dirty="0">
                <a:solidFill>
                  <a:srgbClr val="002060"/>
                </a:solidFill>
                <a:latin typeface="+mj-lt"/>
              </a:rPr>
              <a:t>	В МИНФИНЕ ЗАБАЙКАЛЬСКОГО КРАЯ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3F4C1D6-9330-404D-B545-1D82F56E7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522" y="107177"/>
            <a:ext cx="775544" cy="775544"/>
          </a:xfrm>
          <a:prstGeom prst="rect">
            <a:avLst/>
          </a:prstGeom>
        </p:spPr>
      </p:pic>
      <p:sp>
        <p:nvSpPr>
          <p:cNvPr id="31" name="Номер слайда 30">
            <a:extLst>
              <a:ext uri="{FF2B5EF4-FFF2-40B4-BE49-F238E27FC236}">
                <a16:creationId xmlns:a16="http://schemas.microsoft.com/office/drawing/2014/main" id="{23D5462B-6CDA-4623-BE52-50B1ED716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4</a:t>
            </a:fld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979B924-5FA1-45BB-A331-A4FF6FB9183C}"/>
              </a:ext>
            </a:extLst>
          </p:cNvPr>
          <p:cNvSpPr/>
          <p:nvPr/>
        </p:nvSpPr>
        <p:spPr>
          <a:xfrm>
            <a:off x="11891391" y="4992107"/>
            <a:ext cx="63816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1AA95E8-4841-4B25-8C85-930B7A278F98}"/>
              </a:ext>
            </a:extLst>
          </p:cNvPr>
          <p:cNvSpPr/>
          <p:nvPr/>
        </p:nvSpPr>
        <p:spPr>
          <a:xfrm>
            <a:off x="235788" y="863361"/>
            <a:ext cx="11655603" cy="1845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АДАПТИРОВАНЫ МАТЕРИАЛЫ ПОД СПЕЦИФИКУ ДЕЯТЕЛЬНОСТИ МИНФИНА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ПРОВЕДЕНО 4 ОБУЧЕНИЯ ПРИНЦИПАМ – 100% КОЛЛЕКТИВА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ОПРЕДЕЛЕНА ФИЛОСОФИЯ, ЦЕЛИ УЧТЕНЫ В КПЭ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032B8F70-CB6B-4733-B36D-4299572E0D05}"/>
              </a:ext>
            </a:extLst>
          </p:cNvPr>
          <p:cNvGrpSpPr/>
          <p:nvPr/>
        </p:nvGrpSpPr>
        <p:grpSpPr>
          <a:xfrm>
            <a:off x="482186" y="2786332"/>
            <a:ext cx="11409205" cy="3826175"/>
            <a:chOff x="482186" y="1743628"/>
            <a:chExt cx="10911907" cy="4868879"/>
          </a:xfrm>
        </p:grpSpPr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967458E2-2752-49DE-9347-4B215E2C9F27}"/>
                </a:ext>
              </a:extLst>
            </p:cNvPr>
            <p:cNvSpPr/>
            <p:nvPr/>
          </p:nvSpPr>
          <p:spPr>
            <a:xfrm>
              <a:off x="3838051" y="2196458"/>
              <a:ext cx="4220362" cy="4027113"/>
            </a:xfrm>
            <a:prstGeom prst="ellipse">
              <a:avLst/>
            </a:prstGeom>
            <a:noFill/>
            <a:ln w="381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: скругленные углы 12">
              <a:extLst>
                <a:ext uri="{FF2B5EF4-FFF2-40B4-BE49-F238E27FC236}">
                  <a16:creationId xmlns:a16="http://schemas.microsoft.com/office/drawing/2014/main" id="{45E98129-D0A1-4614-AAA2-9F3EEBEE92AC}"/>
                </a:ext>
              </a:extLst>
            </p:cNvPr>
            <p:cNvSpPr/>
            <p:nvPr/>
          </p:nvSpPr>
          <p:spPr>
            <a:xfrm>
              <a:off x="482186" y="3489799"/>
              <a:ext cx="3601631" cy="1409913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latin typeface="+mj-lt"/>
                </a:rPr>
                <a:t>КПЭ</a:t>
              </a:r>
            </a:p>
          </p:txBody>
        </p:sp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477DF2B8-A194-4294-9883-499149D24F58}"/>
                </a:ext>
              </a:extLst>
            </p:cNvPr>
            <p:cNvSpPr/>
            <p:nvPr/>
          </p:nvSpPr>
          <p:spPr>
            <a:xfrm>
              <a:off x="1349925" y="5220277"/>
              <a:ext cx="4220362" cy="1392230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latin typeface="+mj-lt"/>
                </a:rPr>
                <a:t>СТАНДАРСТИЗАЦИЯ</a:t>
              </a:r>
            </a:p>
          </p:txBody>
        </p:sp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B90138BF-540B-4B6C-B574-0BB3DFF660E1}"/>
                </a:ext>
              </a:extLst>
            </p:cNvPr>
            <p:cNvSpPr/>
            <p:nvPr/>
          </p:nvSpPr>
          <p:spPr>
            <a:xfrm>
              <a:off x="7772447" y="3500904"/>
              <a:ext cx="3621646" cy="1398808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latin typeface="+mj-lt"/>
                </a:rPr>
                <a:t>ОРГАНИЗАЦИЯ РАБОЧЕГО МЕСТА 5С</a:t>
              </a:r>
            </a:p>
          </p:txBody>
        </p:sp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6A1A674C-13D4-4868-839F-5DA44F6DD20C}"/>
                </a:ext>
              </a:extLst>
            </p:cNvPr>
            <p:cNvSpPr/>
            <p:nvPr/>
          </p:nvSpPr>
          <p:spPr>
            <a:xfrm>
              <a:off x="6500419" y="5220277"/>
              <a:ext cx="4220362" cy="1392230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latin typeface="+mj-lt"/>
                </a:rPr>
                <a:t>ВИЗУАЛИЗАЦИЯ</a:t>
              </a:r>
              <a:r>
                <a:rPr lang="en-US" b="1" dirty="0">
                  <a:latin typeface="+mj-lt"/>
                </a:rPr>
                <a:t> </a:t>
              </a:r>
              <a:r>
                <a:rPr lang="ru-RU" b="1" dirty="0">
                  <a:latin typeface="+mj-lt"/>
                </a:rPr>
                <a:t>И ОПТИМИЗАЦИЯ ПРОЦЕССОВ</a:t>
              </a:r>
            </a:p>
          </p:txBody>
        </p:sp>
        <p:sp>
          <p:nvSpPr>
            <p:cNvPr id="17" name="Прямоугольник: скругленные углы 16">
              <a:extLst>
                <a:ext uri="{FF2B5EF4-FFF2-40B4-BE49-F238E27FC236}">
                  <a16:creationId xmlns:a16="http://schemas.microsoft.com/office/drawing/2014/main" id="{71551B06-7650-417B-B14E-EBBDE19E0044}"/>
                </a:ext>
              </a:extLst>
            </p:cNvPr>
            <p:cNvSpPr/>
            <p:nvPr/>
          </p:nvSpPr>
          <p:spPr>
            <a:xfrm>
              <a:off x="3754161" y="1743628"/>
              <a:ext cx="4220362" cy="1311661"/>
            </a:xfrm>
            <a:prstGeom prst="roundRect">
              <a:avLst/>
            </a:prstGeom>
            <a:solidFill>
              <a:srgbClr val="002060"/>
            </a:solidFill>
            <a:ln w="381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latin typeface="+mj-lt"/>
                </a:rPr>
                <a:t>МЫШЛЕНИЕ ПО </a:t>
              </a:r>
            </a:p>
            <a:p>
              <a:pPr algn="ctr"/>
              <a:r>
                <a:rPr lang="ru-RU" b="1" dirty="0">
                  <a:latin typeface="+mj-lt"/>
                </a:rPr>
                <a:t>ПРИНЦИПАМ БУ</a:t>
              </a: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C5A26FF8-FAAC-4C9B-9080-BB147CA0404B}"/>
                </a:ext>
              </a:extLst>
            </p:cNvPr>
            <p:cNvSpPr/>
            <p:nvPr/>
          </p:nvSpPr>
          <p:spPr>
            <a:xfrm>
              <a:off x="4871653" y="3428458"/>
              <a:ext cx="2144852" cy="15252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+mj-lt"/>
                </a:rPr>
                <a:t>КАЙДЗЕН – </a:t>
              </a:r>
            </a:p>
            <a:p>
              <a:pPr algn="ctr"/>
              <a:r>
                <a:rPr lang="ru-RU" b="1" dirty="0">
                  <a:solidFill>
                    <a:srgbClr val="002060"/>
                  </a:solidFill>
                  <a:latin typeface="+mj-lt"/>
                </a:rPr>
                <a:t>постоянное </a:t>
              </a:r>
            </a:p>
            <a:p>
              <a:pPr algn="ctr"/>
              <a:r>
                <a:rPr lang="ru-RU" b="1" dirty="0">
                  <a:solidFill>
                    <a:srgbClr val="002060"/>
                  </a:solidFill>
                  <a:latin typeface="+mj-lt"/>
                </a:rPr>
                <a:t>совершенствование</a:t>
              </a:r>
              <a:endParaRPr lang="ru-RU" dirty="0">
                <a:latin typeface="+mj-lt"/>
              </a:endParaRPr>
            </a:p>
          </p:txBody>
        </p:sp>
        <p:sp>
          <p:nvSpPr>
            <p:cNvPr id="19" name="Равнобедренный треугольник 18">
              <a:extLst>
                <a:ext uri="{FF2B5EF4-FFF2-40B4-BE49-F238E27FC236}">
                  <a16:creationId xmlns:a16="http://schemas.microsoft.com/office/drawing/2014/main" id="{005E5284-8F7B-4A4D-A9B4-DA2B0AEE2BEC}"/>
                </a:ext>
              </a:extLst>
            </p:cNvPr>
            <p:cNvSpPr/>
            <p:nvPr/>
          </p:nvSpPr>
          <p:spPr>
            <a:xfrm rot="8847668">
              <a:off x="7727628" y="3223890"/>
              <a:ext cx="200287" cy="131405"/>
            </a:xfrm>
            <a:prstGeom prst="triangle">
              <a:avLst/>
            </a:prstGeom>
            <a:solidFill>
              <a:srgbClr val="002060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Равнобедренный треугольник 19">
              <a:extLst>
                <a:ext uri="{FF2B5EF4-FFF2-40B4-BE49-F238E27FC236}">
                  <a16:creationId xmlns:a16="http://schemas.microsoft.com/office/drawing/2014/main" id="{23E23794-A567-49B0-B930-47796F5F11FA}"/>
                </a:ext>
              </a:extLst>
            </p:cNvPr>
            <p:cNvSpPr/>
            <p:nvPr/>
          </p:nvSpPr>
          <p:spPr>
            <a:xfrm rot="13241164">
              <a:off x="7767992" y="5022398"/>
              <a:ext cx="200287" cy="131405"/>
            </a:xfrm>
            <a:prstGeom prst="triangle">
              <a:avLst/>
            </a:prstGeom>
            <a:solidFill>
              <a:srgbClr val="002060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Равнобедренный треугольник 20">
              <a:extLst>
                <a:ext uri="{FF2B5EF4-FFF2-40B4-BE49-F238E27FC236}">
                  <a16:creationId xmlns:a16="http://schemas.microsoft.com/office/drawing/2014/main" id="{ADFF5B7C-12E3-45C4-8963-15CD0E945048}"/>
                </a:ext>
              </a:extLst>
            </p:cNvPr>
            <p:cNvSpPr/>
            <p:nvPr/>
          </p:nvSpPr>
          <p:spPr>
            <a:xfrm rot="16200000">
              <a:off x="5856988" y="6155104"/>
              <a:ext cx="200287" cy="131405"/>
            </a:xfrm>
            <a:prstGeom prst="triangle">
              <a:avLst/>
            </a:prstGeom>
            <a:solidFill>
              <a:srgbClr val="002060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Равнобедренный треугольник 21">
              <a:extLst>
                <a:ext uri="{FF2B5EF4-FFF2-40B4-BE49-F238E27FC236}">
                  <a16:creationId xmlns:a16="http://schemas.microsoft.com/office/drawing/2014/main" id="{68C149AD-4262-4D0A-A96A-0B38A6EB2680}"/>
                </a:ext>
              </a:extLst>
            </p:cNvPr>
            <p:cNvSpPr/>
            <p:nvPr/>
          </p:nvSpPr>
          <p:spPr>
            <a:xfrm rot="19535455">
              <a:off x="3924949" y="4952013"/>
              <a:ext cx="200287" cy="131405"/>
            </a:xfrm>
            <a:prstGeom prst="triangle">
              <a:avLst/>
            </a:prstGeom>
            <a:solidFill>
              <a:srgbClr val="002060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Равнобедренный треугольник 22">
              <a:extLst>
                <a:ext uri="{FF2B5EF4-FFF2-40B4-BE49-F238E27FC236}">
                  <a16:creationId xmlns:a16="http://schemas.microsoft.com/office/drawing/2014/main" id="{7DA0A636-795E-48BB-A192-046EC4759751}"/>
                </a:ext>
              </a:extLst>
            </p:cNvPr>
            <p:cNvSpPr/>
            <p:nvPr/>
          </p:nvSpPr>
          <p:spPr>
            <a:xfrm rot="1238392">
              <a:off x="3983673" y="3223889"/>
              <a:ext cx="200287" cy="131405"/>
            </a:xfrm>
            <a:prstGeom prst="triangle">
              <a:avLst/>
            </a:prstGeom>
            <a:solidFill>
              <a:srgbClr val="002060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8636372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3657702-10D4-4FB1-8E2B-35A4481F2057}"/>
              </a:ext>
            </a:extLst>
          </p:cNvPr>
          <p:cNvSpPr/>
          <p:nvPr/>
        </p:nvSpPr>
        <p:spPr>
          <a:xfrm>
            <a:off x="0" y="-1"/>
            <a:ext cx="12192000" cy="9899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>
                <a:solidFill>
                  <a:srgbClr val="002060"/>
                </a:solidFill>
                <a:latin typeface="+mj-lt"/>
              </a:rPr>
              <a:t>	</a:t>
            </a:r>
            <a:r>
              <a:rPr lang="ru-RU" sz="4000" b="1" dirty="0">
                <a:solidFill>
                  <a:srgbClr val="002060"/>
                </a:solidFill>
                <a:latin typeface="+mj-lt"/>
              </a:rPr>
              <a:t>БЕРЕЖЛИВОЕ УПРАВЛЕНИЕ</a:t>
            </a:r>
          </a:p>
          <a:p>
            <a:r>
              <a:rPr lang="ru-RU" sz="2400" b="1" dirty="0">
                <a:solidFill>
                  <a:srgbClr val="002060"/>
                </a:solidFill>
                <a:latin typeface="+mj-lt"/>
              </a:rPr>
              <a:t>	В МИНФИНЕ ЗАБАЙКАЛЬСКОГО КРАЯ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3F4C1D6-9330-404D-B545-1D82F56E7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522" y="107177"/>
            <a:ext cx="775544" cy="775544"/>
          </a:xfrm>
          <a:prstGeom prst="rect">
            <a:avLst/>
          </a:prstGeom>
        </p:spPr>
      </p:pic>
      <p:sp>
        <p:nvSpPr>
          <p:cNvPr id="31" name="Номер слайда 30">
            <a:extLst>
              <a:ext uri="{FF2B5EF4-FFF2-40B4-BE49-F238E27FC236}">
                <a16:creationId xmlns:a16="http://schemas.microsoft.com/office/drawing/2014/main" id="{23D5462B-6CDA-4623-BE52-50B1ED716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5</a:t>
            </a:fld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1AA95E8-4841-4B25-8C85-930B7A278F98}"/>
              </a:ext>
            </a:extLst>
          </p:cNvPr>
          <p:cNvSpPr/>
          <p:nvPr/>
        </p:nvSpPr>
        <p:spPr>
          <a:xfrm>
            <a:off x="235788" y="1097078"/>
            <a:ext cx="11655603" cy="24607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СОЗДАНА НА САЙТЕ МИНФИНА ОБЕЯ С РЕАЛИЗОВАННЫМИ ПРОЕКТАМИ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ВИЗУАЛИЗАЦИЯ ПРИНЦИПОВ В РАБОЧИХ КАБИНЕТАХ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ПРОВЕДЕН КОНКУРС РАБОЧИХ МЕСТ ПО СИСТЕМЕ 5С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  <a:latin typeface="+mj-lt"/>
              </a:rPr>
              <a:t>ВНЕДРЕН «ИНФОЦЕНТР» ВИЗУАЛЬНОГО МЕНЕДЖЕМЕНТА ПО СИСТЕМЕ </a:t>
            </a:r>
            <a:r>
              <a:rPr lang="en-US" sz="2000" b="1" dirty="0">
                <a:solidFill>
                  <a:srgbClr val="002060"/>
                </a:solidFill>
                <a:latin typeface="+mj-lt"/>
              </a:rPr>
              <a:t>SQDCM</a:t>
            </a:r>
            <a:endParaRPr lang="ru-RU" sz="2000" b="1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B7CFE39-85B9-4368-9094-87C3C7FE84D0}"/>
              </a:ext>
            </a:extLst>
          </p:cNvPr>
          <p:cNvPicPr/>
          <p:nvPr/>
        </p:nvPicPr>
        <p:blipFill rotWithShape="1">
          <a:blip r:embed="rId4"/>
          <a:srcRect l="19561" t="3843" r="18874" b="3368"/>
          <a:stretch/>
        </p:blipFill>
        <p:spPr bwMode="auto">
          <a:xfrm>
            <a:off x="88522" y="3807456"/>
            <a:ext cx="3337333" cy="274057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9E872AC-AB88-454F-8629-24C0024B34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94127" y="3807456"/>
            <a:ext cx="1818319" cy="174744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612FEB1-B7EB-4155-AABD-338BB8346B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40920" y="4792436"/>
            <a:ext cx="1944438" cy="187446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8B4C05B-299D-49C8-BB93-604A92B73A53}"/>
              </a:ext>
            </a:extLst>
          </p:cNvPr>
          <p:cNvPicPr/>
          <p:nvPr/>
        </p:nvPicPr>
        <p:blipFill rotWithShape="1">
          <a:blip r:embed="rId7"/>
          <a:srcRect t="14015" r="62116" b="7353"/>
          <a:stretch/>
        </p:blipFill>
        <p:spPr bwMode="auto">
          <a:xfrm>
            <a:off x="6627511" y="3896371"/>
            <a:ext cx="2561731" cy="187446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57CA8A6-185E-4F9A-98A5-E4DAA170B560}"/>
              </a:ext>
            </a:extLst>
          </p:cNvPr>
          <p:cNvSpPr txBox="1"/>
          <p:nvPr/>
        </p:nvSpPr>
        <p:spPr>
          <a:xfrm>
            <a:off x="6585358" y="3557816"/>
            <a:ext cx="4908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ДО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094FAE6-C942-4C7A-BA4B-51F824B1AD37}"/>
              </a:ext>
            </a:extLst>
          </p:cNvPr>
          <p:cNvPicPr/>
          <p:nvPr/>
        </p:nvPicPr>
        <p:blipFill rotWithShape="1">
          <a:blip r:embed="rId8"/>
          <a:srcRect l="5662" t="12629" r="50790" b="14714"/>
          <a:stretch/>
        </p:blipFill>
        <p:spPr bwMode="auto">
          <a:xfrm>
            <a:off x="8366640" y="4992107"/>
            <a:ext cx="2617845" cy="168291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80A50AA-91F6-4D01-B05A-455412CAF939}"/>
              </a:ext>
            </a:extLst>
          </p:cNvPr>
          <p:cNvSpPr txBox="1"/>
          <p:nvPr/>
        </p:nvSpPr>
        <p:spPr>
          <a:xfrm>
            <a:off x="10464576" y="4618529"/>
            <a:ext cx="9386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ПОСЛЕ</a:t>
            </a:r>
          </a:p>
        </p:txBody>
      </p:sp>
    </p:spTree>
    <p:extLst>
      <p:ext uri="{BB962C8B-B14F-4D97-AF65-F5344CB8AC3E}">
        <p14:creationId xmlns:p14="http://schemas.microsoft.com/office/powerpoint/2010/main" val="2670993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3657702-10D4-4FB1-8E2B-35A4481F2057}"/>
              </a:ext>
            </a:extLst>
          </p:cNvPr>
          <p:cNvSpPr/>
          <p:nvPr/>
        </p:nvSpPr>
        <p:spPr>
          <a:xfrm>
            <a:off x="0" y="-1"/>
            <a:ext cx="12192000" cy="9899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>
                <a:solidFill>
                  <a:srgbClr val="002060"/>
                </a:solidFill>
                <a:latin typeface="+mj-lt"/>
              </a:rPr>
              <a:t>	</a:t>
            </a:r>
            <a:r>
              <a:rPr lang="ru-RU" sz="4000" b="1" dirty="0">
                <a:solidFill>
                  <a:srgbClr val="002060"/>
                </a:solidFill>
                <a:latin typeface="+mj-lt"/>
              </a:rPr>
              <a:t>БЕРЕЖЛИВОЕ УПРАВЛЕНИЕ</a:t>
            </a:r>
          </a:p>
          <a:p>
            <a:r>
              <a:rPr lang="ru-RU" sz="2400" b="1" dirty="0">
                <a:solidFill>
                  <a:srgbClr val="002060"/>
                </a:solidFill>
                <a:latin typeface="+mj-lt"/>
              </a:rPr>
              <a:t>	В МИНФИНЕ ЗАБАЙКАЛЬСКОГО КРАЯ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3F4C1D6-9330-404D-B545-1D82F56E7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522" y="107177"/>
            <a:ext cx="775544" cy="775544"/>
          </a:xfrm>
          <a:prstGeom prst="rect">
            <a:avLst/>
          </a:prstGeom>
        </p:spPr>
      </p:pic>
      <p:sp>
        <p:nvSpPr>
          <p:cNvPr id="31" name="Номер слайда 30">
            <a:extLst>
              <a:ext uri="{FF2B5EF4-FFF2-40B4-BE49-F238E27FC236}">
                <a16:creationId xmlns:a16="http://schemas.microsoft.com/office/drawing/2014/main" id="{23D5462B-6CDA-4623-BE52-50B1ED716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6</a:t>
            </a:fld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238BBD0-A6BF-425F-81DE-BF535BA89B0D}"/>
              </a:ext>
            </a:extLst>
          </p:cNvPr>
          <p:cNvSpPr/>
          <p:nvPr/>
        </p:nvSpPr>
        <p:spPr>
          <a:xfrm>
            <a:off x="106167" y="1912142"/>
            <a:ext cx="12085833" cy="4269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rgbClr val="002060"/>
                </a:solidFill>
                <a:latin typeface="+mj-lt"/>
              </a:rPr>
              <a:t>ЗАЩИТА СТАТУСА МЕСТНОГО И РЕГИОНАЛЬНОГО ОБРАЗЦА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rgbClr val="002060"/>
                </a:solidFill>
                <a:latin typeface="+mj-lt"/>
              </a:rPr>
              <a:t>МАСШТАБИРОВАНИЕ СТАТУСА «ПРОЕКТ» С УРОВНЯ ОТДЕЛА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rgbClr val="002060"/>
                </a:solidFill>
                <a:latin typeface="+mj-lt"/>
              </a:rPr>
              <a:t>ВОВЛЕЧЕНИЕ ФО МО ЧЕРЕЗ ЗОНАЛЬНЫЕ СОВЕЩАНИЯ 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rgbClr val="002060"/>
                </a:solidFill>
                <a:latin typeface="+mj-lt"/>
              </a:rPr>
              <a:t>УЧАСТИЕ В КОНКУРСЕ ПРОЕКТОВ ДФО</a:t>
            </a:r>
          </a:p>
          <a:p>
            <a:pPr marL="342900" indent="-342900" algn="just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rgbClr val="002060"/>
                </a:solidFill>
                <a:latin typeface="+mj-lt"/>
              </a:rPr>
              <a:t>НЕПРЕРЫВНОЕ СОВЕРШЕНСТВОВАНИЕ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42D0EC-B2D7-4FD2-A655-10C50271DF13}"/>
              </a:ext>
            </a:extLst>
          </p:cNvPr>
          <p:cNvSpPr txBox="1"/>
          <p:nvPr/>
        </p:nvSpPr>
        <p:spPr>
          <a:xfrm>
            <a:off x="88522" y="1097078"/>
            <a:ext cx="117194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>
                <a:solidFill>
                  <a:srgbClr val="002060"/>
                </a:solidFill>
                <a:latin typeface="+mj-lt"/>
              </a:rPr>
              <a:t>В ПЛАНАХ</a:t>
            </a:r>
          </a:p>
        </p:txBody>
      </p:sp>
    </p:spTree>
    <p:extLst>
      <p:ext uri="{BB962C8B-B14F-4D97-AF65-F5344CB8AC3E}">
        <p14:creationId xmlns:p14="http://schemas.microsoft.com/office/powerpoint/2010/main" val="30289088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3657702-10D4-4FB1-8E2B-35A4481F2057}"/>
              </a:ext>
            </a:extLst>
          </p:cNvPr>
          <p:cNvSpPr/>
          <p:nvPr/>
        </p:nvSpPr>
        <p:spPr>
          <a:xfrm>
            <a:off x="0" y="-1"/>
            <a:ext cx="12192000" cy="9899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>
                <a:solidFill>
                  <a:srgbClr val="002060"/>
                </a:solidFill>
                <a:latin typeface="+mj-lt"/>
              </a:rPr>
              <a:t>	</a:t>
            </a:r>
            <a:r>
              <a:rPr lang="ru-RU" sz="4000" b="1" dirty="0">
                <a:solidFill>
                  <a:srgbClr val="002060"/>
                </a:solidFill>
                <a:latin typeface="+mj-lt"/>
              </a:rPr>
              <a:t>БЕРЕЖЛИВОЕ УПРАВЛЕНИЕ</a:t>
            </a:r>
          </a:p>
          <a:p>
            <a:r>
              <a:rPr lang="ru-RU" sz="2400" b="1" dirty="0">
                <a:solidFill>
                  <a:srgbClr val="002060"/>
                </a:solidFill>
                <a:latin typeface="+mj-lt"/>
              </a:rPr>
              <a:t>	В МИНФИНЕ ЗАБАЙКАЛЬСКОГО КРАЯ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3F4C1D6-9330-404D-B545-1D82F56E7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522" y="107177"/>
            <a:ext cx="775544" cy="775544"/>
          </a:xfrm>
          <a:prstGeom prst="rect">
            <a:avLst/>
          </a:prstGeom>
        </p:spPr>
      </p:pic>
      <p:sp>
        <p:nvSpPr>
          <p:cNvPr id="31" name="Номер слайда 30">
            <a:extLst>
              <a:ext uri="{FF2B5EF4-FFF2-40B4-BE49-F238E27FC236}">
                <a16:creationId xmlns:a16="http://schemas.microsoft.com/office/drawing/2014/main" id="{23D5462B-6CDA-4623-BE52-50B1ED716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3265C-0F7D-4F8E-B186-52CC6E57FB24}" type="slidenum">
              <a:rPr lang="ru-RU" smtClean="0"/>
              <a:t>7</a:t>
            </a:fld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42D0EC-B2D7-4FD2-A655-10C50271DF13}"/>
              </a:ext>
            </a:extLst>
          </p:cNvPr>
          <p:cNvSpPr txBox="1"/>
          <p:nvPr/>
        </p:nvSpPr>
        <p:spPr>
          <a:xfrm>
            <a:off x="3623095" y="3075057"/>
            <a:ext cx="59115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rgbClr val="002060"/>
                </a:solidFill>
                <a:latin typeface="+mj-lt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5477502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imes New Roman/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Минфин-Титулка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9_Городская 1">
        <a:dk1>
          <a:srgbClr val="000000"/>
        </a:dk1>
        <a:lt1>
          <a:srgbClr val="FFFFFF"/>
        </a:lt1>
        <a:dk2>
          <a:srgbClr val="424456"/>
        </a:dk2>
        <a:lt2>
          <a:srgbClr val="DEDEDE"/>
        </a:lt2>
        <a:accent1>
          <a:srgbClr val="53548A"/>
        </a:accent1>
        <a:accent2>
          <a:srgbClr val="438086"/>
        </a:accent2>
        <a:accent3>
          <a:srgbClr val="FFFFFF"/>
        </a:accent3>
        <a:accent4>
          <a:srgbClr val="000000"/>
        </a:accent4>
        <a:accent5>
          <a:srgbClr val="B3B3C4"/>
        </a:accent5>
        <a:accent6>
          <a:srgbClr val="3C7379"/>
        </a:accent6>
        <a:hlink>
          <a:srgbClr val="67AFBD"/>
        </a:hlink>
        <a:folHlink>
          <a:srgbClr val="C2A8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15</TotalTime>
  <Words>249</Words>
  <Application>Microsoft Office PowerPoint</Application>
  <PresentationFormat>Широкоэкранный</PresentationFormat>
  <Paragraphs>60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Arial</vt:lpstr>
      <vt:lpstr>Book Antiqua</vt:lpstr>
      <vt:lpstr>Calibri</vt:lpstr>
      <vt:lpstr>Georgia</vt:lpstr>
      <vt:lpstr>Times New Roman</vt:lpstr>
      <vt:lpstr>Wingdings</vt:lpstr>
      <vt:lpstr>Wingdings 2</vt:lpstr>
      <vt:lpstr>Тема Office</vt:lpstr>
      <vt:lpstr>3_Минфин-Титулка</vt:lpstr>
      <vt:lpstr>think-cell Slide</vt:lpstr>
      <vt:lpstr>«Об итогах работы по внедрению принципов бережливого управления в Министерстве финансов Забайкальского края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олышева Анна Анатольевна</dc:creator>
  <cp:lastModifiedBy>Голышева Анна Анатольевна</cp:lastModifiedBy>
  <cp:revision>51</cp:revision>
  <cp:lastPrinted>2025-01-20T23:29:21Z</cp:lastPrinted>
  <dcterms:created xsi:type="dcterms:W3CDTF">2024-11-06T02:42:07Z</dcterms:created>
  <dcterms:modified xsi:type="dcterms:W3CDTF">2025-01-23T02:25:00Z</dcterms:modified>
</cp:coreProperties>
</file>